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428" r:id="rId2"/>
    <p:sldId id="470" r:id="rId3"/>
    <p:sldId id="469" r:id="rId4"/>
    <p:sldId id="471" r:id="rId5"/>
    <p:sldId id="474" r:id="rId6"/>
    <p:sldId id="472" r:id="rId7"/>
    <p:sldId id="473" r:id="rId8"/>
    <p:sldId id="475" r:id="rId9"/>
    <p:sldId id="476" r:id="rId10"/>
    <p:sldId id="477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79493"/>
  </p:normalViewPr>
  <p:slideViewPr>
    <p:cSldViewPr snapToGrid="0" snapToObjects="1">
      <p:cViewPr varScale="1">
        <p:scale>
          <a:sx n="83" d="100"/>
          <a:sy n="83" d="100"/>
        </p:scale>
        <p:origin x="1896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9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9.06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Mehr zu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6535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Lato Light" panose="020F0302020204030203" pitchFamily="34" charset="77"/>
              </a:rPr>
              <a:t>https://</a:t>
            </a:r>
            <a:r>
              <a:rPr lang="de-DE" sz="2400" dirty="0" err="1">
                <a:latin typeface="Lato Light" panose="020F0302020204030203" pitchFamily="34" charset="77"/>
              </a:rPr>
              <a:t>docs.python.org</a:t>
            </a:r>
            <a:r>
              <a:rPr lang="de-DE" sz="2400" dirty="0">
                <a:latin typeface="Lato Light" panose="020F0302020204030203" pitchFamily="34" charset="77"/>
              </a:rPr>
              <a:t>/3/</a:t>
            </a:r>
            <a:r>
              <a:rPr lang="de-DE" sz="2400" dirty="0" err="1">
                <a:latin typeface="Lato Light" panose="020F0302020204030203" pitchFamily="34" charset="77"/>
              </a:rPr>
              <a:t>library</a:t>
            </a:r>
            <a:r>
              <a:rPr lang="de-DE" sz="2400" dirty="0">
                <a:latin typeface="Lato Light" panose="020F0302020204030203" pitchFamily="34" charset="77"/>
              </a:rPr>
              <a:t>/</a:t>
            </a:r>
            <a:r>
              <a:rPr lang="de-DE" sz="2400" dirty="0" err="1">
                <a:latin typeface="Lato Light" panose="020F0302020204030203" pitchFamily="34" charset="77"/>
              </a:rPr>
              <a:t>stdtypes.html#string-methods</a:t>
            </a:r>
            <a:endParaRPr lang="de-DE" sz="24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10280897" y="6209234"/>
            <a:ext cx="11400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5557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dictionar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B57F4B-1D97-ED24-B03E-25916F08B3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291095"/>
            <a:ext cx="3236278" cy="4275810"/>
          </a:xfrm>
          <a:prstGeom prst="rect">
            <a:avLst/>
          </a:prstGeom>
        </p:spPr>
      </p:pic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5</TotalTime>
  <Words>342</Words>
  <Application>Microsoft Macintosh PowerPoint</Application>
  <PresentationFormat>Widescreen</PresentationFormat>
  <Paragraphs>46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Mehr zu Pytho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1</cp:revision>
  <dcterms:created xsi:type="dcterms:W3CDTF">2022-02-03T14:23:38Z</dcterms:created>
  <dcterms:modified xsi:type="dcterms:W3CDTF">2022-06-29T14:18:20Z</dcterms:modified>
  <cp:category/>
</cp:coreProperties>
</file>